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001F0D-8688-482A-824F-B491D5165291}" v="668" dt="2022-04-12T12:30:57.57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94"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4T07:09:42.454" v="693"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4T07:09:42.454" v="693" actId="107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del mod">
          <ac:chgData name="Kümmerle, Markus" userId="edb588ad-b118-44cb-93b6-335b967c9009" providerId="ADAL" clId="{191D59EE-583A-4E7E-BC0E-2418733E0254}" dt="2022-02-24T07:09:27.339" v="690" actId="478"/>
          <ac:picMkLst>
            <pc:docMk/>
            <pc:sldMk cId="1609124706" sldId="2049"/>
            <ac:picMk id="9" creationId="{35F3730C-39B0-414D-AC73-0D22051ED1DB}"/>
          </ac:picMkLst>
        </pc:picChg>
        <pc:picChg chg="add mod">
          <ac:chgData name="Kümmerle, Markus" userId="edb588ad-b118-44cb-93b6-335b967c9009" providerId="ADAL" clId="{191D59EE-583A-4E7E-BC0E-2418733E0254}" dt="2022-02-24T07:09:24.414" v="689" actId="1076"/>
          <ac:picMkLst>
            <pc:docMk/>
            <pc:sldMk cId="1609124706" sldId="2049"/>
            <ac:picMk id="10" creationId="{CA29AE2B-3A81-4E25-9A14-7D592817984B}"/>
          </ac:picMkLst>
        </pc:picChg>
        <pc:picChg chg="add mod">
          <ac:chgData name="Kümmerle, Markus" userId="edb588ad-b118-44cb-93b6-335b967c9009" providerId="ADAL" clId="{191D59EE-583A-4E7E-BC0E-2418733E0254}" dt="2022-02-24T07:09:42.454" v="693" actId="1076"/>
          <ac:picMkLst>
            <pc:docMk/>
            <pc:sldMk cId="1609124706" sldId="2049"/>
            <ac:picMk id="12" creationId="{08C621FC-DC50-4B73-A9EB-23E1EA12C64D}"/>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4T07:09:02.028" v="686" actId="478"/>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Kümmerle, Markus" userId="edb588ad-b118-44cb-93b6-335b967c9009" providerId="ADAL" clId="{C4001F0D-8688-482A-824F-B491D5165291}"/>
    <pc:docChg chg="custSel modSld modMainMaster">
      <pc:chgData name="Kümmerle, Markus" userId="edb588ad-b118-44cb-93b6-335b967c9009" providerId="ADAL" clId="{C4001F0D-8688-482A-824F-B491D5165291}" dt="2022-04-07T07:47:05.469" v="254" actId="20577"/>
      <pc:docMkLst>
        <pc:docMk/>
      </pc:docMkLst>
      <pc:sldChg chg="addSp modSp mod">
        <pc:chgData name="Kümmerle, Markus" userId="edb588ad-b118-44cb-93b6-335b967c9009" providerId="ADAL" clId="{C4001F0D-8688-482A-824F-B491D5165291}" dt="2022-04-07T07:45:49.562" v="249" actId="1037"/>
        <pc:sldMkLst>
          <pc:docMk/>
          <pc:sldMk cId="1609124706" sldId="2049"/>
        </pc:sldMkLst>
        <pc:spChg chg="mod ord">
          <ac:chgData name="Kümmerle, Markus" userId="edb588ad-b118-44cb-93b6-335b967c9009" providerId="ADAL" clId="{C4001F0D-8688-482A-824F-B491D5165291}" dt="2022-04-07T07:44:26.054" v="163"/>
          <ac:spMkLst>
            <pc:docMk/>
            <pc:sldMk cId="1609124706" sldId="2049"/>
            <ac:spMk id="2" creationId="{2B73D7CB-E55B-ED4D-A567-274B625D4CEF}"/>
          </ac:spMkLst>
        </pc:spChg>
        <pc:spChg chg="mod ord">
          <ac:chgData name="Kümmerle, Markus" userId="edb588ad-b118-44cb-93b6-335b967c9009" providerId="ADAL" clId="{C4001F0D-8688-482A-824F-B491D5165291}" dt="2022-04-07T07:44:26.053" v="161"/>
          <ac:spMkLst>
            <pc:docMk/>
            <pc:sldMk cId="1609124706" sldId="2049"/>
            <ac:spMk id="4" creationId="{F21FBA62-7C92-48CE-A159-19EB9B276E15}"/>
          </ac:spMkLst>
        </pc:spChg>
        <pc:spChg chg="mod ord">
          <ac:chgData name="Kümmerle, Markus" userId="edb588ad-b118-44cb-93b6-335b967c9009" providerId="ADAL" clId="{C4001F0D-8688-482A-824F-B491D5165291}" dt="2022-04-07T07:44:26.052" v="159"/>
          <ac:spMkLst>
            <pc:docMk/>
            <pc:sldMk cId="1609124706" sldId="2049"/>
            <ac:spMk id="17" creationId="{C9C7E6E5-611D-45EA-9A9F-F104F894113F}"/>
          </ac:spMkLst>
        </pc:spChg>
        <pc:graphicFrameChg chg="mod">
          <ac:chgData name="Kümmerle, Markus" userId="edb588ad-b118-44cb-93b6-335b967c9009" providerId="ADAL" clId="{C4001F0D-8688-482A-824F-B491D5165291}" dt="2022-04-07T07:44:26.074" v="210"/>
          <ac:graphicFrameMkLst>
            <pc:docMk/>
            <pc:sldMk cId="1609124706" sldId="2049"/>
            <ac:graphicFrameMk id="5" creationId="{24EAA83B-388C-42C7-9B96-60997077107C}"/>
          </ac:graphicFrameMkLst>
        </pc:graphicFrameChg>
        <pc:picChg chg="mod ord">
          <ac:chgData name="Kümmerle, Markus" userId="edb588ad-b118-44cb-93b6-335b967c9009" providerId="ADAL" clId="{C4001F0D-8688-482A-824F-B491D5165291}" dt="2022-04-07T07:45:09.356" v="215" actId="408"/>
          <ac:picMkLst>
            <pc:docMk/>
            <pc:sldMk cId="1609124706" sldId="2049"/>
            <ac:picMk id="6" creationId="{E801FD9D-36B2-4E40-B027-4CB85035AA9C}"/>
          </ac:picMkLst>
        </pc:picChg>
        <pc:picChg chg="mod ord">
          <ac:chgData name="Kümmerle, Markus" userId="edb588ad-b118-44cb-93b6-335b967c9009" providerId="ADAL" clId="{C4001F0D-8688-482A-824F-B491D5165291}" dt="2022-04-07T07:44:26.063" v="198"/>
          <ac:picMkLst>
            <pc:docMk/>
            <pc:sldMk cId="1609124706" sldId="2049"/>
            <ac:picMk id="7" creationId="{A55850A9-4D08-40D3-BE1B-EC8002332372}"/>
          </ac:picMkLst>
        </pc:picChg>
        <pc:picChg chg="mod ord">
          <ac:chgData name="Kümmerle, Markus" userId="edb588ad-b118-44cb-93b6-335b967c9009" providerId="ADAL" clId="{C4001F0D-8688-482A-824F-B491D5165291}" dt="2022-04-07T07:44:26.059" v="181"/>
          <ac:picMkLst>
            <pc:docMk/>
            <pc:sldMk cId="1609124706" sldId="2049"/>
            <ac:picMk id="8" creationId="{183685A2-5DC3-47D9-9FE3-49DCA1C005FB}"/>
          </ac:picMkLst>
        </pc:picChg>
        <pc:picChg chg="mod ord">
          <ac:chgData name="Kümmerle, Markus" userId="edb588ad-b118-44cb-93b6-335b967c9009" providerId="ADAL" clId="{C4001F0D-8688-482A-824F-B491D5165291}" dt="2022-04-07T07:44:26.063" v="200"/>
          <ac:picMkLst>
            <pc:docMk/>
            <pc:sldMk cId="1609124706" sldId="2049"/>
            <ac:picMk id="10" creationId="{CA29AE2B-3A81-4E25-9A14-7D592817984B}"/>
          </ac:picMkLst>
        </pc:picChg>
        <pc:picChg chg="mod ord">
          <ac:chgData name="Kümmerle, Markus" userId="edb588ad-b118-44cb-93b6-335b967c9009" providerId="ADAL" clId="{C4001F0D-8688-482A-824F-B491D5165291}" dt="2022-04-07T07:44:26.064" v="202"/>
          <ac:picMkLst>
            <pc:docMk/>
            <pc:sldMk cId="1609124706" sldId="2049"/>
            <ac:picMk id="12" creationId="{08C621FC-DC50-4B73-A9EB-23E1EA12C64D}"/>
          </ac:picMkLst>
        </pc:picChg>
        <pc:picChg chg="mod ord">
          <ac:chgData name="Kümmerle, Markus" userId="edb588ad-b118-44cb-93b6-335b967c9009" providerId="ADAL" clId="{C4001F0D-8688-482A-824F-B491D5165291}" dt="2022-04-07T07:45:49.562" v="249" actId="1037"/>
          <ac:picMkLst>
            <pc:docMk/>
            <pc:sldMk cId="1609124706" sldId="2049"/>
            <ac:picMk id="20" creationId="{00278130-6A13-4C98-8848-0032F0E95D5B}"/>
          </ac:picMkLst>
        </pc:picChg>
        <pc:picChg chg="mod ord">
          <ac:chgData name="Kümmerle, Markus" userId="edb588ad-b118-44cb-93b6-335b967c9009" providerId="ADAL" clId="{C4001F0D-8688-482A-824F-B491D5165291}" dt="2022-04-07T07:44:26.056" v="171"/>
          <ac:picMkLst>
            <pc:docMk/>
            <pc:sldMk cId="1609124706" sldId="2049"/>
            <ac:picMk id="21" creationId="{B1652846-1C76-48F1-9096-F77A41D04474}"/>
          </ac:picMkLst>
        </pc:picChg>
        <pc:picChg chg="mod ord">
          <ac:chgData name="Kümmerle, Markus" userId="edb588ad-b118-44cb-93b6-335b967c9009" providerId="ADAL" clId="{C4001F0D-8688-482A-824F-B491D5165291}" dt="2022-04-07T07:44:26.058" v="175"/>
          <ac:picMkLst>
            <pc:docMk/>
            <pc:sldMk cId="1609124706" sldId="2049"/>
            <ac:picMk id="22" creationId="{AB203166-E2F2-45EB-A292-23761997F2CB}"/>
          </ac:picMkLst>
        </pc:picChg>
        <pc:picChg chg="mod ord">
          <ac:chgData name="Kümmerle, Markus" userId="edb588ad-b118-44cb-93b6-335b967c9009" providerId="ADAL" clId="{C4001F0D-8688-482A-824F-B491D5165291}" dt="2022-04-07T07:44:26.058" v="177"/>
          <ac:picMkLst>
            <pc:docMk/>
            <pc:sldMk cId="1609124706" sldId="2049"/>
            <ac:picMk id="23" creationId="{880C27AB-A266-4D16-B6CE-B608468EFA60}"/>
          </ac:picMkLst>
        </pc:picChg>
        <pc:picChg chg="mod ord">
          <ac:chgData name="Kümmerle, Markus" userId="edb588ad-b118-44cb-93b6-335b967c9009" providerId="ADAL" clId="{C4001F0D-8688-482A-824F-B491D5165291}" dt="2022-04-07T07:44:26.060" v="183"/>
          <ac:picMkLst>
            <pc:docMk/>
            <pc:sldMk cId="1609124706" sldId="2049"/>
            <ac:picMk id="24" creationId="{74157A46-D0ED-4A48-A468-6BE44B498445}"/>
          </ac:picMkLst>
        </pc:picChg>
        <pc:picChg chg="mod ord">
          <ac:chgData name="Kümmerle, Markus" userId="edb588ad-b118-44cb-93b6-335b967c9009" providerId="ADAL" clId="{C4001F0D-8688-482A-824F-B491D5165291}" dt="2022-04-07T07:44:26.052" v="157"/>
          <ac:picMkLst>
            <pc:docMk/>
            <pc:sldMk cId="1609124706" sldId="2049"/>
            <ac:picMk id="25" creationId="{FCE70341-DA6B-433E-ADF7-0EAC87493B8F}"/>
          </ac:picMkLst>
        </pc:picChg>
        <pc:picChg chg="mod ord">
          <ac:chgData name="Kümmerle, Markus" userId="edb588ad-b118-44cb-93b6-335b967c9009" providerId="ADAL" clId="{C4001F0D-8688-482A-824F-B491D5165291}" dt="2022-04-07T07:44:26.060" v="185"/>
          <ac:picMkLst>
            <pc:docMk/>
            <pc:sldMk cId="1609124706" sldId="2049"/>
            <ac:picMk id="26" creationId="{335E88DA-64F5-4BCD-AD7E-4709B2A07350}"/>
          </ac:picMkLst>
        </pc:picChg>
        <pc:picChg chg="mod ord">
          <ac:chgData name="Kümmerle, Markus" userId="edb588ad-b118-44cb-93b6-335b967c9009" providerId="ADAL" clId="{C4001F0D-8688-482A-824F-B491D5165291}" dt="2022-04-07T07:44:26.060" v="187"/>
          <ac:picMkLst>
            <pc:docMk/>
            <pc:sldMk cId="1609124706" sldId="2049"/>
            <ac:picMk id="27" creationId="{77138097-FEBD-4AE6-BF7E-2E57C5575FCB}"/>
          </ac:picMkLst>
        </pc:picChg>
        <pc:picChg chg="mod ord">
          <ac:chgData name="Kümmerle, Markus" userId="edb588ad-b118-44cb-93b6-335b967c9009" providerId="ADAL" clId="{C4001F0D-8688-482A-824F-B491D5165291}" dt="2022-04-07T07:44:26.061" v="189"/>
          <ac:picMkLst>
            <pc:docMk/>
            <pc:sldMk cId="1609124706" sldId="2049"/>
            <ac:picMk id="28" creationId="{FDB8DAB5-0016-431A-BDD8-EC9FEAA8C07F}"/>
          </ac:picMkLst>
        </pc:picChg>
        <pc:picChg chg="mod ord">
          <ac:chgData name="Kümmerle, Markus" userId="edb588ad-b118-44cb-93b6-335b967c9009" providerId="ADAL" clId="{C4001F0D-8688-482A-824F-B491D5165291}" dt="2022-04-07T07:45:09.356" v="215" actId="408"/>
          <ac:picMkLst>
            <pc:docMk/>
            <pc:sldMk cId="1609124706" sldId="2049"/>
            <ac:picMk id="29" creationId="{C1EBAE24-FB4D-498A-93F5-9C2F19DA31FF}"/>
          </ac:picMkLst>
        </pc:picChg>
        <pc:picChg chg="mod ord">
          <ac:chgData name="Kümmerle, Markus" userId="edb588ad-b118-44cb-93b6-335b967c9009" providerId="ADAL" clId="{C4001F0D-8688-482A-824F-B491D5165291}" dt="2022-04-07T07:44:26.062" v="193"/>
          <ac:picMkLst>
            <pc:docMk/>
            <pc:sldMk cId="1609124706" sldId="2049"/>
            <ac:picMk id="30" creationId="{DD4AF1C8-29CE-45FB-849A-A4B57CEFF8CE}"/>
          </ac:picMkLst>
        </pc:picChg>
        <pc:picChg chg="mod ord">
          <ac:chgData name="Kümmerle, Markus" userId="edb588ad-b118-44cb-93b6-335b967c9009" providerId="ADAL" clId="{C4001F0D-8688-482A-824F-B491D5165291}" dt="2022-04-07T07:45:09.356" v="215" actId="408"/>
          <ac:picMkLst>
            <pc:docMk/>
            <pc:sldMk cId="1609124706" sldId="2049"/>
            <ac:picMk id="31" creationId="{3683C14C-26D6-42D3-95D4-726159965F25}"/>
          </ac:picMkLst>
        </pc:picChg>
        <pc:picChg chg="mod">
          <ac:chgData name="Kümmerle, Markus" userId="edb588ad-b118-44cb-93b6-335b967c9009" providerId="ADAL" clId="{C4001F0D-8688-482A-824F-B491D5165291}" dt="2022-04-07T07:44:26.063" v="196"/>
          <ac:picMkLst>
            <pc:docMk/>
            <pc:sldMk cId="1609124706" sldId="2049"/>
            <ac:picMk id="32" creationId="{F74AEDDA-C5DB-4CE0-AC60-93E2D36AE504}"/>
          </ac:picMkLst>
        </pc:picChg>
        <pc:picChg chg="add mod ord">
          <ac:chgData name="Kümmerle, Markus" userId="edb588ad-b118-44cb-93b6-335b967c9009" providerId="ADAL" clId="{C4001F0D-8688-482A-824F-B491D5165291}" dt="2022-04-07T07:44:26.064" v="204"/>
          <ac:picMkLst>
            <pc:docMk/>
            <pc:sldMk cId="1609124706" sldId="2049"/>
            <ac:picMk id="33" creationId="{2AF8F179-2BBF-4CC0-8BD8-BD7CC7162137}"/>
          </ac:picMkLst>
        </pc:picChg>
        <pc:picChg chg="add mod ord">
          <ac:chgData name="Kümmerle, Markus" userId="edb588ad-b118-44cb-93b6-335b967c9009" providerId="ADAL" clId="{C4001F0D-8688-482A-824F-B491D5165291}" dt="2022-04-07T07:45:45.320" v="241" actId="1037"/>
          <ac:picMkLst>
            <pc:docMk/>
            <pc:sldMk cId="1609124706" sldId="2049"/>
            <ac:picMk id="34" creationId="{353AFCB8-FB38-4AAE-939F-016AB8747C08}"/>
          </ac:picMkLst>
        </pc:picChg>
        <pc:picChg chg="add mod ord">
          <ac:chgData name="Kümmerle, Markus" userId="edb588ad-b118-44cb-93b6-335b967c9009" providerId="ADAL" clId="{C4001F0D-8688-482A-824F-B491D5165291}" dt="2022-04-07T07:45:09.356" v="215" actId="408"/>
          <ac:picMkLst>
            <pc:docMk/>
            <pc:sldMk cId="1609124706" sldId="2049"/>
            <ac:picMk id="35" creationId="{DA725A87-73F0-42D8-ABE3-59F5A5FF5549}"/>
          </ac:picMkLst>
        </pc:picChg>
        <pc:picChg chg="mod">
          <ac:chgData name="Kümmerle, Markus" userId="edb588ad-b118-44cb-93b6-335b967c9009" providerId="ADAL" clId="{C4001F0D-8688-482A-824F-B491D5165291}" dt="2022-04-07T07:44:26.054" v="164"/>
          <ac:picMkLst>
            <pc:docMk/>
            <pc:sldMk cId="1609124706" sldId="2049"/>
            <ac:picMk id="3088" creationId="{F72A8B7E-732E-4B0C-8588-1320247D45E5}"/>
          </ac:picMkLst>
        </pc:picChg>
        <pc:picChg chg="mod">
          <ac:chgData name="Kümmerle, Markus" userId="edb588ad-b118-44cb-93b6-335b967c9009" providerId="ADAL" clId="{C4001F0D-8688-482A-824F-B491D5165291}" dt="2022-04-07T07:44:26.054" v="165"/>
          <ac:picMkLst>
            <pc:docMk/>
            <pc:sldMk cId="1609124706" sldId="2049"/>
            <ac:picMk id="3089" creationId="{D3BB906B-B65F-4A67-98C4-862449CD2D41}"/>
          </ac:picMkLst>
        </pc:picChg>
        <pc:picChg chg="mod">
          <ac:chgData name="Kümmerle, Markus" userId="edb588ad-b118-44cb-93b6-335b967c9009" providerId="ADAL" clId="{C4001F0D-8688-482A-824F-B491D5165291}" dt="2022-04-07T07:44:26.055" v="166"/>
          <ac:picMkLst>
            <pc:docMk/>
            <pc:sldMk cId="1609124706" sldId="2049"/>
            <ac:picMk id="3090" creationId="{0A489013-040A-4AAF-9AB7-60DA6B72E160}"/>
          </ac:picMkLst>
        </pc:picChg>
        <pc:picChg chg="mod">
          <ac:chgData name="Kümmerle, Markus" userId="edb588ad-b118-44cb-93b6-335b967c9009" providerId="ADAL" clId="{C4001F0D-8688-482A-824F-B491D5165291}" dt="2022-04-07T07:44:26.055" v="167"/>
          <ac:picMkLst>
            <pc:docMk/>
            <pc:sldMk cId="1609124706" sldId="2049"/>
            <ac:picMk id="3093" creationId="{9FDAEF24-BA7D-4E72-B3BE-2D955FC524C1}"/>
          </ac:picMkLst>
        </pc:picChg>
        <pc:picChg chg="mod">
          <ac:chgData name="Kümmerle, Markus" userId="edb588ad-b118-44cb-93b6-335b967c9009" providerId="ADAL" clId="{C4001F0D-8688-482A-824F-B491D5165291}" dt="2022-04-07T07:44:26.056" v="168"/>
          <ac:picMkLst>
            <pc:docMk/>
            <pc:sldMk cId="1609124706" sldId="2049"/>
            <ac:picMk id="3096" creationId="{23C29E29-B331-4CDA-8190-E3995C6D8DA8}"/>
          </ac:picMkLst>
        </pc:picChg>
        <pc:picChg chg="mod">
          <ac:chgData name="Kümmerle, Markus" userId="edb588ad-b118-44cb-93b6-335b967c9009" providerId="ADAL" clId="{C4001F0D-8688-482A-824F-B491D5165291}" dt="2022-04-07T07:45:24.498" v="233" actId="1035"/>
          <ac:picMkLst>
            <pc:docMk/>
            <pc:sldMk cId="1609124706" sldId="2049"/>
            <ac:picMk id="3098" creationId="{7DBDD973-78E3-47C6-8AA8-44941886C608}"/>
          </ac:picMkLst>
        </pc:picChg>
      </pc:sldChg>
      <pc:sldMasterChg chg="modSp mod">
        <pc:chgData name="Kümmerle, Markus" userId="edb588ad-b118-44cb-93b6-335b967c9009" providerId="ADAL" clId="{C4001F0D-8688-482A-824F-B491D5165291}" dt="2022-04-07T07:47:05.469" v="254" actId="20577"/>
        <pc:sldMasterMkLst>
          <pc:docMk/>
          <pc:sldMasterMk cId="792883523" sldId="2147483648"/>
        </pc:sldMasterMkLst>
        <pc:spChg chg="mod">
          <ac:chgData name="Kümmerle, Markus" userId="edb588ad-b118-44cb-93b6-335b967c9009" providerId="ADAL" clId="{C4001F0D-8688-482A-824F-B491D5165291}" dt="2022-04-07T07:47:05.469" v="254" actId="20577"/>
          <ac:spMkLst>
            <pc:docMk/>
            <pc:sldMasterMk cId="792883523" sldId="2147483648"/>
            <ac:spMk id="42" creationId="{45454B20-5506-4078-B4BE-04E554143E72}"/>
          </ac:spMkLst>
        </pc:spChg>
      </pc:sldMaster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2.04.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04.04.2022</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39.png"/><Relationship Id="rId26" Type="http://schemas.openxmlformats.org/officeDocument/2006/relationships/image" Target="../media/image46.png"/><Relationship Id="rId3" Type="http://schemas.openxmlformats.org/officeDocument/2006/relationships/slideLayout" Target="../slideLayouts/slideLayout2.xml"/><Relationship Id="rId21" Type="http://schemas.openxmlformats.org/officeDocument/2006/relationships/image" Target="../media/image42.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8.png"/><Relationship Id="rId25" Type="http://schemas.openxmlformats.org/officeDocument/2006/relationships/image" Target="../media/image15.png"/><Relationship Id="rId33" Type="http://schemas.openxmlformats.org/officeDocument/2006/relationships/image" Target="../media/image53.png"/><Relationship Id="rId2" Type="http://schemas.openxmlformats.org/officeDocument/2006/relationships/tags" Target="../tags/tag24.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32" Type="http://schemas.openxmlformats.org/officeDocument/2006/relationships/image" Target="../media/image52.png"/><Relationship Id="rId5" Type="http://schemas.openxmlformats.org/officeDocument/2006/relationships/oleObject" Target="../embeddings/oleObject13.bin"/><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8.png"/><Relationship Id="rId10" Type="http://schemas.openxmlformats.org/officeDocument/2006/relationships/image" Target="../media/image32.png"/><Relationship Id="rId19" Type="http://schemas.openxmlformats.org/officeDocument/2006/relationships/image" Target="../media/image40.png"/><Relationship Id="rId31" Type="http://schemas.openxmlformats.org/officeDocument/2006/relationships/image" Target="../media/image51.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png"/><Relationship Id="rId22" Type="http://schemas.openxmlformats.org/officeDocument/2006/relationships/image" Target="../media/image43.png"/><Relationship Id="rId27" Type="http://schemas.openxmlformats.org/officeDocument/2006/relationships/image" Target="../media/image47.png"/><Relationship Id="rId30"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5" Type="http://schemas.openxmlformats.org/officeDocument/2006/relationships/image" Target="../media/image11.png"/><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6364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12868" y="51381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26475" y="4205724"/>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0A489013-040A-4AAF-9AB7-60DA6B72E1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07918" y="3348307"/>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5027" y="49668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026318" y="2587513"/>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99599" y="1487705"/>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5"/>
          <a:stretch>
            <a:fillRect/>
          </a:stretch>
        </p:blipFill>
        <p:spPr>
          <a:xfrm>
            <a:off x="4138286" y="3301750"/>
            <a:ext cx="2124224" cy="1194875"/>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6"/>
          <a:stretch>
            <a:fillRect/>
          </a:stretch>
        </p:blipFill>
        <p:spPr>
          <a:xfrm>
            <a:off x="210833" y="3357231"/>
            <a:ext cx="1741015" cy="951754"/>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7"/>
          <a:stretch>
            <a:fillRect/>
          </a:stretch>
        </p:blipFill>
        <p:spPr>
          <a:xfrm>
            <a:off x="9038854" y="4454307"/>
            <a:ext cx="2042161" cy="499195"/>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8"/>
          <a:stretch>
            <a:fillRect/>
          </a:stretch>
        </p:blipFill>
        <p:spPr>
          <a:xfrm>
            <a:off x="7750093" y="1902397"/>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9"/>
          <a:stretch>
            <a:fillRect/>
          </a:stretch>
        </p:blipFill>
        <p:spPr>
          <a:xfrm>
            <a:off x="5211183" y="4289972"/>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20"/>
          <a:stretch>
            <a:fillRect/>
          </a:stretch>
        </p:blipFill>
        <p:spPr>
          <a:xfrm>
            <a:off x="4565095" y="5138128"/>
            <a:ext cx="2979651" cy="980793"/>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21"/>
          <a:stretch>
            <a:fillRect/>
          </a:stretch>
        </p:blipFill>
        <p:spPr>
          <a:xfrm>
            <a:off x="4595595" y="2419781"/>
            <a:ext cx="1918982" cy="1277382"/>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2"/>
          <a:stretch>
            <a:fillRect/>
          </a:stretch>
        </p:blipFill>
        <p:spPr>
          <a:xfrm>
            <a:off x="9115640" y="2350290"/>
            <a:ext cx="2058838" cy="1372559"/>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3"/>
          <a:stretch>
            <a:fillRect/>
          </a:stretch>
        </p:blipFill>
        <p:spPr>
          <a:xfrm>
            <a:off x="1099673" y="4400820"/>
            <a:ext cx="4365171" cy="2455409"/>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4"/>
          <a:stretch>
            <a:fillRect/>
          </a:stretch>
        </p:blipFill>
        <p:spPr>
          <a:xfrm>
            <a:off x="4689571" y="1727439"/>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5"/>
          <a:stretch>
            <a:fillRect/>
          </a:stretch>
        </p:blipFill>
        <p:spPr>
          <a:xfrm>
            <a:off x="7752983" y="5312116"/>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6"/>
          <a:stretch>
            <a:fillRect/>
          </a:stretch>
        </p:blipFill>
        <p:spPr>
          <a:xfrm>
            <a:off x="8958251" y="2007836"/>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9010652" y="3612022"/>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8"/>
          <a:stretch>
            <a:fillRect/>
          </a:stretch>
        </p:blipFill>
        <p:spPr>
          <a:xfrm>
            <a:off x="6942965" y="4107918"/>
            <a:ext cx="1191973" cy="1191973"/>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9"/>
          <a:stretch>
            <a:fillRect/>
          </a:stretch>
        </p:blipFill>
        <p:spPr>
          <a:xfrm>
            <a:off x="7227608" y="2774088"/>
            <a:ext cx="1175002" cy="476659"/>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30"/>
          <a:stretch>
            <a:fillRect/>
          </a:stretch>
        </p:blipFill>
        <p:spPr>
          <a:xfrm>
            <a:off x="397164" y="2865877"/>
            <a:ext cx="1916123" cy="33931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31"/>
          <a:stretch>
            <a:fillRect/>
          </a:stretch>
        </p:blipFill>
        <p:spPr>
          <a:xfrm>
            <a:off x="375027" y="4465574"/>
            <a:ext cx="2047531" cy="476659"/>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32"/>
          <a:stretch>
            <a:fillRect/>
          </a:stretch>
        </p:blipFill>
        <p:spPr>
          <a:xfrm>
            <a:off x="1944855" y="3504459"/>
            <a:ext cx="2124224" cy="737522"/>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33"/>
          <a:stretch>
            <a:fillRect/>
          </a:stretch>
        </p:blipFill>
        <p:spPr>
          <a:xfrm>
            <a:off x="397164" y="1961210"/>
            <a:ext cx="1986663" cy="523760"/>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a:latin typeface="FlexoSoft DemiBold" panose="02000000000000000000" pitchFamily="2" charset="0"/>
              </a:rPr>
              <a:t>Abstraction</a:t>
            </a:r>
            <a:r>
              <a:rPr lang="en-US" b="1">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6"/>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8"/>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8B3AEC-1B9B-4DB5-801E-C1A65C3DCD7E}">
  <ds:schemaRefs>
    <ds:schemaRef ds:uri="424d9566-a900-48ca-bb97-708e03439653"/>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36CC807-61BD-4D8B-81D3-E91C34BAB01D}">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9</Words>
  <Application>Microsoft Office PowerPoint</Application>
  <PresentationFormat>Benutzerdefiniert</PresentationFormat>
  <Paragraphs>119</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Arial</vt:lpstr>
      <vt:lpstr>Calibri</vt:lpstr>
      <vt:lpstr>FlexoSoft Medium</vt:lpstr>
      <vt:lpstr>FlexoSoft Light</vt:lpstr>
      <vt:lpstr>Wingdings</vt:lpstr>
      <vt:lpstr>Wingdings 2</vt:lpstr>
      <vt:lpstr>FlexoSoft</vt:lpstr>
      <vt:lpstr>FlexoSoft DemiBold</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4-12T12:3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ies>
</file>